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5"/>
  </p:notesMasterIdLst>
  <p:handoutMasterIdLst>
    <p:handoutMasterId r:id="rId16"/>
  </p:handoutMasterIdLst>
  <p:sldIdLst>
    <p:sldId id="257" r:id="rId2"/>
    <p:sldId id="354" r:id="rId3"/>
    <p:sldId id="398" r:id="rId4"/>
    <p:sldId id="397" r:id="rId5"/>
    <p:sldId id="355" r:id="rId6"/>
    <p:sldId id="377" r:id="rId7"/>
    <p:sldId id="378" r:id="rId8"/>
    <p:sldId id="380" r:id="rId9"/>
    <p:sldId id="392" r:id="rId10"/>
    <p:sldId id="379" r:id="rId11"/>
    <p:sldId id="393" r:id="rId12"/>
    <p:sldId id="395" r:id="rId13"/>
    <p:sldId id="305" r:id="rId14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r Kiat Tan" initials="KKT" lastIdx="8" clrIdx="0">
    <p:extLst>
      <p:ext uri="{19B8F6BF-5375-455C-9EA6-DF929625EA0E}">
        <p15:presenceInfo xmlns:p15="http://schemas.microsoft.com/office/powerpoint/2012/main" userId="S-1-5-21-1319194364-3845115793-869998820-71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46" autoAdjust="0"/>
    <p:restoredTop sz="94660"/>
  </p:normalViewPr>
  <p:slideViewPr>
    <p:cSldViewPr snapToGrid="0">
      <p:cViewPr varScale="1">
        <p:scale>
          <a:sx n="70" d="100"/>
          <a:sy n="70" d="100"/>
        </p:scale>
        <p:origin x="1336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843085790746741E-4"/>
          <c:y val="5.3149589822806799E-2"/>
          <c:w val="0.99921150481189847"/>
          <c:h val="0.788052641808964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98BB8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</c:numCache>
            </c:numRef>
          </c:cat>
          <c:val>
            <c:numRef>
              <c:f>Sheet1!$B$2:$B$13</c:f>
              <c:numCache>
                <c:formatCode>#,##0</c:formatCode>
                <c:ptCount val="12"/>
                <c:pt idx="0">
                  <c:v>5153</c:v>
                </c:pt>
                <c:pt idx="1">
                  <c:v>6937</c:v>
                </c:pt>
                <c:pt idx="2">
                  <c:v>8582</c:v>
                </c:pt>
                <c:pt idx="3">
                  <c:v>10919</c:v>
                </c:pt>
                <c:pt idx="4">
                  <c:v>14610</c:v>
                </c:pt>
                <c:pt idx="5">
                  <c:v>16387</c:v>
                </c:pt>
                <c:pt idx="6">
                  <c:v>18504</c:v>
                </c:pt>
                <c:pt idx="7">
                  <c:v>21174</c:v>
                </c:pt>
                <c:pt idx="8">
                  <c:v>25239</c:v>
                </c:pt>
                <c:pt idx="9">
                  <c:v>30482</c:v>
                </c:pt>
                <c:pt idx="10">
                  <c:v>35600</c:v>
                </c:pt>
                <c:pt idx="11">
                  <c:v>3670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64"/>
        <c:overlap val="-59"/>
        <c:axId val="-1736016432"/>
        <c:axId val="-1736022416"/>
      </c:barChart>
      <c:catAx>
        <c:axId val="-17360164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1736022416"/>
        <c:crosses val="autoZero"/>
        <c:auto val="1"/>
        <c:lblAlgn val="ctr"/>
        <c:lblOffset val="100"/>
        <c:noMultiLvlLbl val="0"/>
      </c:catAx>
      <c:valAx>
        <c:axId val="-173602241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-1736016432"/>
        <c:crosses val="autoZero"/>
        <c:crossBetween val="between"/>
        <c:dispUnits>
          <c:builtInUnit val="thousands"/>
          <c:dispUnitsLbl>
            <c:layout/>
          </c:dispUnitsLbl>
        </c:dispUnits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MY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2873A-7297-450D-8491-9C0F6475FD27}" type="datetimeFigureOut">
              <a:rPr lang="en-MY" smtClean="0"/>
              <a:t>7/2/2017</a:t>
            </a:fld>
            <a:endParaRPr lang="en-MY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MY" smtClean="0"/>
              <a:t>1111</a:t>
            </a:r>
            <a:endParaRPr lang="en-MY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3A470B-3D3E-4ED8-A2C2-3F9CFEC79484}" type="slidenum">
              <a:rPr lang="en-MY" smtClean="0"/>
              <a:t>‹#›</a:t>
            </a:fld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30792834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AAE818-2DB8-4C44-9C72-C6B4525FE7D7}" type="datetimeFigureOut">
              <a:rPr lang="en-US" smtClean="0"/>
              <a:t>2/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mtClean="0"/>
              <a:t>1111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29EECB-E465-4B27-BC2F-8093E0B942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7421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9EECB-E465-4B27-BC2F-8093E0B9420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283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9EECB-E465-4B27-BC2F-8093E0B94200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29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5" y="4317714"/>
            <a:ext cx="6694025" cy="959059"/>
          </a:xfrm>
        </p:spPr>
        <p:txBody>
          <a:bodyPr lIns="0" anchor="b">
            <a:normAutofit/>
          </a:bodyPr>
          <a:lstStyle>
            <a:lvl1pPr>
              <a:defRPr sz="2600" b="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290345"/>
            <a:ext cx="5474906" cy="607954"/>
          </a:xfrm>
          <a:noFill/>
          <a:effectLst/>
        </p:spPr>
        <p:txBody>
          <a:bodyPr lIns="0" tIns="0">
            <a:normAutofit/>
          </a:bodyPr>
          <a:lstStyle>
            <a:lvl1pPr marL="0" indent="0" algn="l">
              <a:spcBef>
                <a:spcPts val="400"/>
              </a:spcBef>
              <a:buNone/>
              <a:defRPr sz="1800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358" y="5400686"/>
            <a:ext cx="2113293" cy="1116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142886"/>
            <a:ext cx="7612545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2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66784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6298959" y="1666784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74675" y="1666784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5362" y="2199110"/>
            <a:ext cx="2391438" cy="387466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374013" y="2199110"/>
            <a:ext cx="2394461" cy="387466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5"/>
          </p:nvPr>
        </p:nvSpPr>
        <p:spPr>
          <a:xfrm>
            <a:off x="6299071" y="2199110"/>
            <a:ext cx="2394461" cy="387466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692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733593" y="2201080"/>
            <a:ext cx="7973538" cy="2937600"/>
          </a:xfr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38788" y="1665288"/>
            <a:ext cx="8268348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8" y="2201080"/>
            <a:ext cx="298236" cy="2933700"/>
          </a:xfrm>
          <a:noFill/>
          <a:effectLst/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33593" y="5134791"/>
            <a:ext cx="7966682" cy="299313"/>
          </a:xfrm>
          <a:noFill/>
          <a:effectLst/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718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8" y="1655157"/>
            <a:ext cx="3890596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3805" y="1661631"/>
            <a:ext cx="3926470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733593" y="2190949"/>
            <a:ext cx="3595786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8" y="2190949"/>
            <a:ext cx="29823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33593" y="5124660"/>
            <a:ext cx="3595786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5049652" y="2190949"/>
            <a:ext cx="3653670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784387" y="2190949"/>
            <a:ext cx="26526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5049652" y="5124660"/>
            <a:ext cx="3653670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611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hart plus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8" y="1666380"/>
            <a:ext cx="3890596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3811" y="1666380"/>
            <a:ext cx="391972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733593" y="2202172"/>
            <a:ext cx="3595786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8" y="2202172"/>
            <a:ext cx="29823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33593" y="5135883"/>
            <a:ext cx="3595786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773811" y="2201888"/>
            <a:ext cx="3919721" cy="3871895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522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plus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4" y="1666380"/>
            <a:ext cx="3890844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3811" y="1666380"/>
            <a:ext cx="391972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5072047" y="2202155"/>
            <a:ext cx="3621485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773806" y="2202155"/>
            <a:ext cx="29823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5072047" y="5135866"/>
            <a:ext cx="3621485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35356" y="2198688"/>
            <a:ext cx="3894023" cy="38750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151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75006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6298959" y="1675006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74675" y="1675006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78750" y="2198688"/>
            <a:ext cx="2140503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5"/>
          <p:cNvSpPr>
            <a:spLocks noGrp="1"/>
          </p:cNvSpPr>
          <p:nvPr>
            <p:ph type="chart" sz="quarter" idx="14"/>
          </p:nvPr>
        </p:nvSpPr>
        <p:spPr>
          <a:xfrm>
            <a:off x="3630061" y="2198688"/>
            <a:ext cx="2139075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6554345" y="2198688"/>
            <a:ext cx="2139075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62" y="2198688"/>
            <a:ext cx="243387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78750" y="5141999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3386679" y="2198688"/>
            <a:ext cx="243387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3630063" y="5141999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6299962" y="2198688"/>
            <a:ext cx="243387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6543344" y="5141999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4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120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 plus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6298959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74675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78750" y="2198688"/>
            <a:ext cx="2140503" cy="22479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5"/>
          <p:cNvSpPr>
            <a:spLocks noGrp="1"/>
          </p:cNvSpPr>
          <p:nvPr>
            <p:ph type="chart" sz="quarter" idx="14"/>
          </p:nvPr>
        </p:nvSpPr>
        <p:spPr>
          <a:xfrm>
            <a:off x="3630061" y="2198688"/>
            <a:ext cx="2139075" cy="22479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6554345" y="2198688"/>
            <a:ext cx="2139075" cy="22479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62" y="2198688"/>
            <a:ext cx="243387" cy="22479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78750" y="4446599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3386679" y="2198688"/>
            <a:ext cx="243387" cy="22479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3630063" y="4446599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6299962" y="2198688"/>
            <a:ext cx="243387" cy="22479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6543344" y="4446599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>
          <a:xfrm>
            <a:off x="681757" y="5028164"/>
            <a:ext cx="2137480" cy="1045612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3640065" y="5028164"/>
            <a:ext cx="2128410" cy="1045612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6543959" y="5028164"/>
            <a:ext cx="2140503" cy="1045612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5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26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607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8" y="1660677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72528" y="1660677"/>
            <a:ext cx="391719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697985" y="2076850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7" y="2076850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97985" y="3678857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5035145" y="2076850"/>
            <a:ext cx="3654573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772526" y="2076850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035145" y="3678857"/>
            <a:ext cx="365457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1"/>
          </p:nvPr>
        </p:nvSpPr>
        <p:spPr>
          <a:xfrm>
            <a:off x="431928" y="4120900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4772528" y="4120900"/>
            <a:ext cx="391719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hart Placeholder 7"/>
          <p:cNvSpPr>
            <a:spLocks noGrp="1"/>
          </p:cNvSpPr>
          <p:nvPr>
            <p:ph type="chart" sz="quarter" idx="23"/>
          </p:nvPr>
        </p:nvSpPr>
        <p:spPr>
          <a:xfrm>
            <a:off x="697985" y="4537073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435357" y="4537073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97985" y="6139084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Chart Placeholder 7"/>
          <p:cNvSpPr>
            <a:spLocks noGrp="1"/>
          </p:cNvSpPr>
          <p:nvPr>
            <p:ph type="chart" sz="quarter" idx="26"/>
          </p:nvPr>
        </p:nvSpPr>
        <p:spPr>
          <a:xfrm>
            <a:off x="5035145" y="4537073"/>
            <a:ext cx="3654573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4772526" y="4537073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5035145" y="6139084"/>
            <a:ext cx="365457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32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3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Rectangle 33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86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Commen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8" y="1652051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697985" y="2068224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7" y="2068224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97985" y="3670228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1"/>
          </p:nvPr>
        </p:nvSpPr>
        <p:spPr>
          <a:xfrm>
            <a:off x="431928" y="4120900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hart Placeholder 7"/>
          <p:cNvSpPr>
            <a:spLocks noGrp="1"/>
          </p:cNvSpPr>
          <p:nvPr>
            <p:ph type="chart" sz="quarter" idx="23"/>
          </p:nvPr>
        </p:nvSpPr>
        <p:spPr>
          <a:xfrm>
            <a:off x="697985" y="4536558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435357" y="4537073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97985" y="6139084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4773807" y="2086624"/>
            <a:ext cx="3925768" cy="16002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73358" y="4536558"/>
            <a:ext cx="3933779" cy="16002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9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692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 Comment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9" y="1660677"/>
            <a:ext cx="389704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73806" y="1660677"/>
            <a:ext cx="3915912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697984" y="2059598"/>
            <a:ext cx="3630995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7" y="2059598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97984" y="3661598"/>
            <a:ext cx="3630995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5036428" y="2059598"/>
            <a:ext cx="3653290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773806" y="2059598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036428" y="3661598"/>
            <a:ext cx="3653290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698389" y="4384675"/>
            <a:ext cx="3630995" cy="16891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034551" y="4384675"/>
            <a:ext cx="3672586" cy="16891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0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le 23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400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15"/>
          <p:cNvSpPr>
            <a:spLocks noChangeArrowheads="1"/>
          </p:cNvSpPr>
          <p:nvPr userDrawn="1"/>
        </p:nvSpPr>
        <p:spPr bwMode="gray">
          <a:xfrm>
            <a:off x="2830331" y="6656292"/>
            <a:ext cx="348333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algn="ctr" eaLnBrk="0" hangingPunct="0"/>
            <a:r>
              <a:rPr lang="en-GB" sz="1100" dirty="0" smtClean="0">
                <a:solidFill>
                  <a:prstClr val="white"/>
                </a:solidFill>
                <a:cs typeface="Arial" charset="0"/>
              </a:rPr>
              <a:t>Risk</a:t>
            </a:r>
            <a:r>
              <a:rPr lang="en-GB" sz="1100" baseline="0" dirty="0" smtClean="0">
                <a:solidFill>
                  <a:prstClr val="white"/>
                </a:solidFill>
                <a:cs typeface="Arial" charset="0"/>
              </a:rPr>
              <a:t> Appetite</a:t>
            </a:r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063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35362" y="1663719"/>
            <a:ext cx="240806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367967" y="1663719"/>
            <a:ext cx="241713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6293019" y="1663719"/>
            <a:ext cx="2406554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3"/>
          </p:nvPr>
        </p:nvSpPr>
        <p:spPr>
          <a:xfrm>
            <a:off x="435362" y="4160856"/>
            <a:ext cx="240806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4"/>
          </p:nvPr>
        </p:nvSpPr>
        <p:spPr>
          <a:xfrm>
            <a:off x="3367967" y="4160856"/>
            <a:ext cx="241713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5"/>
          </p:nvPr>
        </p:nvSpPr>
        <p:spPr>
          <a:xfrm>
            <a:off x="6293019" y="4160856"/>
            <a:ext cx="2406554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56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31931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/>
          </p:nvPr>
        </p:nvSpPr>
        <p:spPr>
          <a:xfrm>
            <a:off x="6298959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7"/>
          </p:nvPr>
        </p:nvSpPr>
        <p:spPr>
          <a:xfrm>
            <a:off x="3374675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/>
          </p:nvPr>
        </p:nvSpPr>
        <p:spPr>
          <a:xfrm>
            <a:off x="431931" y="41611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9"/>
          </p:nvPr>
        </p:nvSpPr>
        <p:spPr>
          <a:xfrm>
            <a:off x="6298959" y="41611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0"/>
          </p:nvPr>
        </p:nvSpPr>
        <p:spPr>
          <a:xfrm>
            <a:off x="3374675" y="41611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1"/>
          </p:nvPr>
        </p:nvSpPr>
        <p:spPr>
          <a:xfrm>
            <a:off x="432333" y="2146319"/>
            <a:ext cx="2394461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xfrm>
            <a:off x="3367967" y="2146319"/>
            <a:ext cx="240050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>
          <a:xfrm>
            <a:off x="6293019" y="2146319"/>
            <a:ext cx="240050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/>
          </p:nvPr>
        </p:nvSpPr>
        <p:spPr>
          <a:xfrm>
            <a:off x="435362" y="4643456"/>
            <a:ext cx="239143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5"/>
          </p:nvPr>
        </p:nvSpPr>
        <p:spPr>
          <a:xfrm>
            <a:off x="3367967" y="4643456"/>
            <a:ext cx="2417136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26"/>
          </p:nvPr>
        </p:nvSpPr>
        <p:spPr>
          <a:xfrm>
            <a:off x="6293019" y="4643456"/>
            <a:ext cx="240050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26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585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35362" y="1663718"/>
            <a:ext cx="1800381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589471" y="1663718"/>
            <a:ext cx="1798869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2"/>
          </p:nvPr>
        </p:nvSpPr>
        <p:spPr>
          <a:xfrm>
            <a:off x="4708810" y="1663718"/>
            <a:ext cx="1806427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6917338" y="1663718"/>
            <a:ext cx="1782241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4"/>
          </p:nvPr>
        </p:nvSpPr>
        <p:spPr>
          <a:xfrm>
            <a:off x="435362" y="4160856"/>
            <a:ext cx="1800381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5"/>
          </p:nvPr>
        </p:nvSpPr>
        <p:spPr>
          <a:xfrm>
            <a:off x="2589471" y="4160856"/>
            <a:ext cx="1798869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16"/>
          </p:nvPr>
        </p:nvSpPr>
        <p:spPr>
          <a:xfrm>
            <a:off x="4708810" y="4160856"/>
            <a:ext cx="1806427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17"/>
          </p:nvPr>
        </p:nvSpPr>
        <p:spPr>
          <a:xfrm>
            <a:off x="6917338" y="4160856"/>
            <a:ext cx="1782241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280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ext 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7"/>
          </p:nvPr>
        </p:nvSpPr>
        <p:spPr>
          <a:xfrm>
            <a:off x="431932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/>
          </p:nvPr>
        </p:nvSpPr>
        <p:spPr>
          <a:xfrm>
            <a:off x="2591450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9"/>
          </p:nvPr>
        </p:nvSpPr>
        <p:spPr>
          <a:xfrm>
            <a:off x="4708805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0"/>
          </p:nvPr>
        </p:nvSpPr>
        <p:spPr>
          <a:xfrm>
            <a:off x="6910476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5"/>
          </p:nvPr>
        </p:nvSpPr>
        <p:spPr>
          <a:xfrm>
            <a:off x="431932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6"/>
          </p:nvPr>
        </p:nvSpPr>
        <p:spPr>
          <a:xfrm>
            <a:off x="2591450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7"/>
          </p:nvPr>
        </p:nvSpPr>
        <p:spPr>
          <a:xfrm>
            <a:off x="4708805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8"/>
          </p:nvPr>
        </p:nvSpPr>
        <p:spPr>
          <a:xfrm>
            <a:off x="6910476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9"/>
          </p:nvPr>
        </p:nvSpPr>
        <p:spPr>
          <a:xfrm>
            <a:off x="432333" y="2128856"/>
            <a:ext cx="1789799" cy="145141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>
          <a:xfrm>
            <a:off x="2589470" y="2128856"/>
            <a:ext cx="1791310" cy="145141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31"/>
          </p:nvPr>
        </p:nvSpPr>
        <p:spPr>
          <a:xfrm>
            <a:off x="4708810" y="2128856"/>
            <a:ext cx="1806427" cy="145141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2"/>
          </p:nvPr>
        </p:nvSpPr>
        <p:spPr>
          <a:xfrm>
            <a:off x="6917338" y="2128855"/>
            <a:ext cx="1782241" cy="1392964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33"/>
          </p:nvPr>
        </p:nvSpPr>
        <p:spPr>
          <a:xfrm>
            <a:off x="432333" y="4652991"/>
            <a:ext cx="1789799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34"/>
          </p:nvPr>
        </p:nvSpPr>
        <p:spPr>
          <a:xfrm>
            <a:off x="2589471" y="4652991"/>
            <a:ext cx="1798869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4" name="Content Placeholder 33"/>
          <p:cNvSpPr>
            <a:spLocks noGrp="1"/>
          </p:cNvSpPr>
          <p:nvPr>
            <p:ph sz="quarter" idx="35"/>
          </p:nvPr>
        </p:nvSpPr>
        <p:spPr>
          <a:xfrm>
            <a:off x="4708810" y="4652991"/>
            <a:ext cx="1806427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36"/>
          </p:nvPr>
        </p:nvSpPr>
        <p:spPr>
          <a:xfrm>
            <a:off x="6917332" y="4652991"/>
            <a:ext cx="1789799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132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3" y="1657754"/>
            <a:ext cx="244530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20887" y="1657754"/>
            <a:ext cx="5379388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2338" y="2190080"/>
            <a:ext cx="2445305" cy="388369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323284" y="2190080"/>
            <a:ext cx="5376295" cy="388369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9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3/1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1928" y="1666380"/>
            <a:ext cx="2458346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435362" y="1666380"/>
            <a:ext cx="539131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5357" y="2198706"/>
            <a:ext cx="5391270" cy="3875070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272273" y="2198706"/>
            <a:ext cx="2427306" cy="3875070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370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85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435356" y="1665288"/>
            <a:ext cx="3894023" cy="439261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4773807" y="1665288"/>
            <a:ext cx="3925768" cy="439261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631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4" y="1666784"/>
            <a:ext cx="3890844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4167" y="1673258"/>
            <a:ext cx="3919363" cy="342900"/>
          </a:xfrm>
          <a:solidFill>
            <a:schemeClr val="accent6"/>
          </a:solidFill>
        </p:spPr>
        <p:txBody>
          <a:bodyPr vert="horz" lIns="144018" tIns="144018" rIns="144018" bIns="144018" rtlCol="0" anchor="ctr">
            <a:noAutofit/>
          </a:bodyPr>
          <a:lstStyle>
            <a:lvl1pPr>
              <a:defRPr lang="en-US" sz="1600" b="1" smtClean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435356" y="2202286"/>
            <a:ext cx="3894023" cy="3871491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73806" y="2202286"/>
            <a:ext cx="3925768" cy="3871491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236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435356" y="1665289"/>
            <a:ext cx="3894023" cy="191967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1"/>
          </p:nvPr>
        </p:nvSpPr>
        <p:spPr>
          <a:xfrm>
            <a:off x="4773807" y="1665289"/>
            <a:ext cx="3925768" cy="191967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2"/>
          </p:nvPr>
        </p:nvSpPr>
        <p:spPr>
          <a:xfrm>
            <a:off x="435356" y="4187826"/>
            <a:ext cx="3894023" cy="188595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3"/>
          </p:nvPr>
        </p:nvSpPr>
        <p:spPr>
          <a:xfrm>
            <a:off x="4773356" y="4187826"/>
            <a:ext cx="3933779" cy="188595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171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758" y="3433812"/>
            <a:ext cx="4092048" cy="983219"/>
          </a:xfrm>
          <a:noFill/>
          <a:effectLst/>
        </p:spPr>
        <p:txBody>
          <a:bodyPr lIns="0" bIns="36005" anchor="b"/>
          <a:lstStyle>
            <a:lvl1pPr marL="0" indent="0">
              <a:buNone/>
              <a:defRPr sz="2000">
                <a:solidFill>
                  <a:schemeClr val="accent3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8800" y="5400686"/>
            <a:ext cx="2113293" cy="1116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1761" y="4418049"/>
            <a:ext cx="5602163" cy="551689"/>
          </a:xfrm>
        </p:spPr>
        <p:txBody>
          <a:bodyPr lIns="0" tIns="72009" rIns="72009" bIns="72009" anchor="t">
            <a:spAutoFit/>
          </a:bodyPr>
          <a:lstStyle>
            <a:lvl1pPr algn="l">
              <a:defRPr sz="3000" b="1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clrChange>
              <a:clrFrom>
                <a:srgbClr val="EDF2F2"/>
              </a:clrFrom>
              <a:clrTo>
                <a:srgbClr val="EDF2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168286"/>
            <a:ext cx="7612545" cy="5257800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289673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text 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928" y="2187147"/>
            <a:ext cx="3897046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2"/>
          </p:nvPr>
        </p:nvSpPr>
        <p:spPr>
          <a:xfrm>
            <a:off x="431928" y="4158591"/>
            <a:ext cx="3897046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4167" y="4158591"/>
            <a:ext cx="3919363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8" y="1665288"/>
            <a:ext cx="3897046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74167" y="1665288"/>
            <a:ext cx="3919363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4773806" y="2194747"/>
            <a:ext cx="3925768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6"/>
          </p:nvPr>
        </p:nvSpPr>
        <p:spPr>
          <a:xfrm>
            <a:off x="432336" y="4696647"/>
            <a:ext cx="3897046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7"/>
          </p:nvPr>
        </p:nvSpPr>
        <p:spPr>
          <a:xfrm>
            <a:off x="4774167" y="4696647"/>
            <a:ext cx="3919363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54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35360" y="1665289"/>
            <a:ext cx="2408066" cy="44084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3377040" y="1665289"/>
            <a:ext cx="2408066" cy="44084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/>
          </p:nvPr>
        </p:nvSpPr>
        <p:spPr>
          <a:xfrm>
            <a:off x="6302089" y="1665289"/>
            <a:ext cx="2405042" cy="44084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254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66784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6298959" y="1666784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74675" y="1666784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5360" y="2199110"/>
            <a:ext cx="2391438" cy="387466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374013" y="2199110"/>
            <a:ext cx="2394461" cy="387466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5"/>
          </p:nvPr>
        </p:nvSpPr>
        <p:spPr>
          <a:xfrm>
            <a:off x="6299069" y="2199110"/>
            <a:ext cx="2394461" cy="387466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968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733593" y="2201080"/>
            <a:ext cx="7973538" cy="2937600"/>
          </a:xfrm>
          <a:noFill/>
          <a:effectLst/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38786" y="1665288"/>
            <a:ext cx="8268348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8" y="2201080"/>
            <a:ext cx="298236" cy="2933700"/>
          </a:xfrm>
          <a:noFill/>
          <a:effectLst/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33593" y="5134787"/>
            <a:ext cx="7966682" cy="299313"/>
          </a:xfrm>
          <a:noFill/>
          <a:effectLst/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3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96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6" y="1655157"/>
            <a:ext cx="3890596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3805" y="1661631"/>
            <a:ext cx="3926470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733593" y="2190949"/>
            <a:ext cx="3595786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8" y="2190949"/>
            <a:ext cx="29823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33593" y="5124656"/>
            <a:ext cx="3595786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5049652" y="2190949"/>
            <a:ext cx="3653670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784387" y="2190949"/>
            <a:ext cx="26526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5049652" y="5124656"/>
            <a:ext cx="3653670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03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Chart plus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6" y="1666380"/>
            <a:ext cx="3890596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3809" y="1666380"/>
            <a:ext cx="391972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733593" y="2202172"/>
            <a:ext cx="3595786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8" y="2202172"/>
            <a:ext cx="29823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33593" y="5135879"/>
            <a:ext cx="3595786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773809" y="2201887"/>
            <a:ext cx="3919721" cy="3871895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58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ments plus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4" y="1666380"/>
            <a:ext cx="3890844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3809" y="1666380"/>
            <a:ext cx="391972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5072045" y="2202155"/>
            <a:ext cx="3621485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773806" y="2202155"/>
            <a:ext cx="298236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5072045" y="5135862"/>
            <a:ext cx="3621485" cy="299313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10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35356" y="2198688"/>
            <a:ext cx="3894023" cy="38750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angle 16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718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75006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6298959" y="1675006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74675" y="1675006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78748" y="2198688"/>
            <a:ext cx="2140503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5"/>
          <p:cNvSpPr>
            <a:spLocks noGrp="1"/>
          </p:cNvSpPr>
          <p:nvPr>
            <p:ph type="chart" sz="quarter" idx="14"/>
          </p:nvPr>
        </p:nvSpPr>
        <p:spPr>
          <a:xfrm>
            <a:off x="3630061" y="2198688"/>
            <a:ext cx="2139075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6554345" y="2198688"/>
            <a:ext cx="2139075" cy="29337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60" y="2198688"/>
            <a:ext cx="243387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78748" y="5141995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3386677" y="2198688"/>
            <a:ext cx="243387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3630063" y="5141995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6299960" y="2198688"/>
            <a:ext cx="243387" cy="29337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6543344" y="5141995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4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269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s plus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6298959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74675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78748" y="2198688"/>
            <a:ext cx="2140503" cy="22479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5"/>
          <p:cNvSpPr>
            <a:spLocks noGrp="1"/>
          </p:cNvSpPr>
          <p:nvPr>
            <p:ph type="chart" sz="quarter" idx="14"/>
          </p:nvPr>
        </p:nvSpPr>
        <p:spPr>
          <a:xfrm>
            <a:off x="3630061" y="2198688"/>
            <a:ext cx="2139075" cy="22479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6554345" y="2198688"/>
            <a:ext cx="2139075" cy="22479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60" y="2198688"/>
            <a:ext cx="243387" cy="22479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78748" y="4446595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>
          <a:xfrm>
            <a:off x="3386677" y="2198688"/>
            <a:ext cx="243387" cy="22479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3630063" y="4446595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6299960" y="2198688"/>
            <a:ext cx="243387" cy="22479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9"/>
          </p:nvPr>
        </p:nvSpPr>
        <p:spPr>
          <a:xfrm>
            <a:off x="6543344" y="4446595"/>
            <a:ext cx="214050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>
          <a:xfrm>
            <a:off x="681757" y="5028164"/>
            <a:ext cx="2137480" cy="1045612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3640065" y="5028164"/>
            <a:ext cx="2128410" cy="1045612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2"/>
          </p:nvPr>
        </p:nvSpPr>
        <p:spPr>
          <a:xfrm>
            <a:off x="6543957" y="5028164"/>
            <a:ext cx="2140503" cy="1045612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Rectangle 2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5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26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10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8" y="1660677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72526" y="1660677"/>
            <a:ext cx="391719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697983" y="2076850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7" y="2076850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97983" y="3678857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5035145" y="2076850"/>
            <a:ext cx="3654573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772526" y="2076850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035145" y="3678857"/>
            <a:ext cx="365457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1"/>
          </p:nvPr>
        </p:nvSpPr>
        <p:spPr>
          <a:xfrm>
            <a:off x="431928" y="4120900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4772526" y="4120900"/>
            <a:ext cx="391719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hart Placeholder 7"/>
          <p:cNvSpPr>
            <a:spLocks noGrp="1"/>
          </p:cNvSpPr>
          <p:nvPr>
            <p:ph type="chart" sz="quarter" idx="23"/>
          </p:nvPr>
        </p:nvSpPr>
        <p:spPr>
          <a:xfrm>
            <a:off x="697983" y="4537073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435357" y="4537073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97983" y="6139080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Chart Placeholder 7"/>
          <p:cNvSpPr>
            <a:spLocks noGrp="1"/>
          </p:cNvSpPr>
          <p:nvPr>
            <p:ph type="chart" sz="quarter" idx="26"/>
          </p:nvPr>
        </p:nvSpPr>
        <p:spPr>
          <a:xfrm>
            <a:off x="5035145" y="4537073"/>
            <a:ext cx="3654573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9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4772526" y="4537073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8"/>
          </p:nvPr>
        </p:nvSpPr>
        <p:spPr>
          <a:xfrm>
            <a:off x="5035145" y="6139080"/>
            <a:ext cx="3654573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32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3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Rectangle 33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423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1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1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30" y="304800"/>
            <a:ext cx="6541990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928" y="1665288"/>
            <a:ext cx="8261491" cy="4408488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none"/>
        </p:style>
        <p:txBody>
          <a:bodyPr lIns="144018" tIns="144018" rIns="144018" bIns="14401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774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s Commen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8" y="1652051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697983" y="2068224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7" y="2068224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97983" y="3670228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1"/>
          </p:nvPr>
        </p:nvSpPr>
        <p:spPr>
          <a:xfrm>
            <a:off x="431928" y="4120900"/>
            <a:ext cx="389745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hart Placeholder 7"/>
          <p:cNvSpPr>
            <a:spLocks noGrp="1"/>
          </p:cNvSpPr>
          <p:nvPr>
            <p:ph type="chart" sz="quarter" idx="23"/>
          </p:nvPr>
        </p:nvSpPr>
        <p:spPr>
          <a:xfrm>
            <a:off x="697983" y="4536558"/>
            <a:ext cx="3631399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435357" y="4537073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5"/>
          </p:nvPr>
        </p:nvSpPr>
        <p:spPr>
          <a:xfrm>
            <a:off x="697983" y="6139080"/>
            <a:ext cx="3631399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4773807" y="2086624"/>
            <a:ext cx="3925768" cy="16002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4773356" y="4536558"/>
            <a:ext cx="3933779" cy="16002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9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348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s Comment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9" y="1660677"/>
            <a:ext cx="389704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73806" y="1660677"/>
            <a:ext cx="3915912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0"/>
          </p:nvPr>
        </p:nvSpPr>
        <p:spPr>
          <a:xfrm>
            <a:off x="697982" y="2059598"/>
            <a:ext cx="3630995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35357" y="2059598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97982" y="3661598"/>
            <a:ext cx="3630995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5036428" y="2059598"/>
            <a:ext cx="3653290" cy="1600200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773806" y="2059598"/>
            <a:ext cx="262622" cy="1600200"/>
          </a:xfrm>
        </p:spPr>
        <p:txBody>
          <a:bodyPr vert="vert270" lIns="36005">
            <a:no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0"/>
          </p:nvPr>
        </p:nvSpPr>
        <p:spPr>
          <a:xfrm>
            <a:off x="5036428" y="3661598"/>
            <a:ext cx="3653290" cy="268535"/>
          </a:xfrm>
        </p:spPr>
        <p:txBody>
          <a:bodyPr vert="horz" wrap="square" tIns="72009" bIns="72009">
            <a:spAutoFit/>
          </a:bodyPr>
          <a:lstStyle>
            <a:lvl1pPr marL="0" indent="0" algn="ctr">
              <a:spcBef>
                <a:spcPts val="0"/>
              </a:spcBef>
              <a:buNone/>
              <a:defRPr sz="800" b="1"/>
            </a:lvl1pPr>
            <a:lvl2pPr marL="252413" indent="0">
              <a:buNone/>
              <a:defRPr sz="1000" b="1"/>
            </a:lvl2pPr>
            <a:lvl3pPr marL="468312" indent="0">
              <a:buNone/>
              <a:defRPr sz="1000" b="1"/>
            </a:lvl3pPr>
            <a:lvl4pPr marL="715963" indent="0">
              <a:buNone/>
              <a:defRPr sz="1000" b="1"/>
            </a:lvl4pPr>
            <a:lvl5pPr marL="896938" indent="0">
              <a:buNone/>
              <a:defRPr sz="10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698387" y="4384675"/>
            <a:ext cx="3630995" cy="16891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034549" y="4384675"/>
            <a:ext cx="3672586" cy="168910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0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le 23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8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35360" y="1663719"/>
            <a:ext cx="240806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367967" y="1663719"/>
            <a:ext cx="241713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6293019" y="1663719"/>
            <a:ext cx="2406554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3"/>
          </p:nvPr>
        </p:nvSpPr>
        <p:spPr>
          <a:xfrm>
            <a:off x="435360" y="4160856"/>
            <a:ext cx="240806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4"/>
          </p:nvPr>
        </p:nvSpPr>
        <p:spPr>
          <a:xfrm>
            <a:off x="3367967" y="4160856"/>
            <a:ext cx="2417136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5"/>
          </p:nvPr>
        </p:nvSpPr>
        <p:spPr>
          <a:xfrm>
            <a:off x="6293019" y="4160856"/>
            <a:ext cx="2406554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03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text 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31931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/>
          </p:nvPr>
        </p:nvSpPr>
        <p:spPr>
          <a:xfrm>
            <a:off x="6298959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7"/>
          </p:nvPr>
        </p:nvSpPr>
        <p:spPr>
          <a:xfrm>
            <a:off x="3374675" y="16663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/>
          </p:nvPr>
        </p:nvSpPr>
        <p:spPr>
          <a:xfrm>
            <a:off x="431931" y="41611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9"/>
          </p:nvPr>
        </p:nvSpPr>
        <p:spPr>
          <a:xfrm>
            <a:off x="6298959" y="41611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0"/>
          </p:nvPr>
        </p:nvSpPr>
        <p:spPr>
          <a:xfrm>
            <a:off x="3374675" y="4161180"/>
            <a:ext cx="239446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1"/>
          </p:nvPr>
        </p:nvSpPr>
        <p:spPr>
          <a:xfrm>
            <a:off x="432333" y="2146319"/>
            <a:ext cx="2394461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2"/>
          </p:nvPr>
        </p:nvSpPr>
        <p:spPr>
          <a:xfrm>
            <a:off x="3367967" y="2146319"/>
            <a:ext cx="240050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>
          <a:xfrm>
            <a:off x="6293019" y="2146319"/>
            <a:ext cx="240050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/>
          </p:nvPr>
        </p:nvSpPr>
        <p:spPr>
          <a:xfrm>
            <a:off x="435360" y="4643456"/>
            <a:ext cx="239143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5"/>
          </p:nvPr>
        </p:nvSpPr>
        <p:spPr>
          <a:xfrm>
            <a:off x="3367967" y="4643456"/>
            <a:ext cx="2417136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26"/>
          </p:nvPr>
        </p:nvSpPr>
        <p:spPr>
          <a:xfrm>
            <a:off x="6293019" y="4643456"/>
            <a:ext cx="2400508" cy="14303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26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55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435360" y="1663718"/>
            <a:ext cx="1800381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589469" y="1663718"/>
            <a:ext cx="1798869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2"/>
          </p:nvPr>
        </p:nvSpPr>
        <p:spPr>
          <a:xfrm>
            <a:off x="4708808" y="1663718"/>
            <a:ext cx="1806427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6917336" y="1663718"/>
            <a:ext cx="1782241" cy="1920106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4"/>
          </p:nvPr>
        </p:nvSpPr>
        <p:spPr>
          <a:xfrm>
            <a:off x="435360" y="4160856"/>
            <a:ext cx="1800381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5"/>
          </p:nvPr>
        </p:nvSpPr>
        <p:spPr>
          <a:xfrm>
            <a:off x="2589469" y="4160856"/>
            <a:ext cx="1798869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16"/>
          </p:nvPr>
        </p:nvSpPr>
        <p:spPr>
          <a:xfrm>
            <a:off x="4708808" y="4160856"/>
            <a:ext cx="1806427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Content Placeholder 27"/>
          <p:cNvSpPr>
            <a:spLocks noGrp="1"/>
          </p:cNvSpPr>
          <p:nvPr>
            <p:ph sz="quarter" idx="17"/>
          </p:nvPr>
        </p:nvSpPr>
        <p:spPr>
          <a:xfrm>
            <a:off x="6917336" y="4160856"/>
            <a:ext cx="1782241" cy="191292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4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860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 text 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7"/>
          </p:nvPr>
        </p:nvSpPr>
        <p:spPr>
          <a:xfrm>
            <a:off x="431932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8"/>
          </p:nvPr>
        </p:nvSpPr>
        <p:spPr>
          <a:xfrm>
            <a:off x="2591448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9"/>
          </p:nvPr>
        </p:nvSpPr>
        <p:spPr>
          <a:xfrm>
            <a:off x="4708805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0"/>
          </p:nvPr>
        </p:nvSpPr>
        <p:spPr>
          <a:xfrm>
            <a:off x="6910476" y="1666380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5"/>
          </p:nvPr>
        </p:nvSpPr>
        <p:spPr>
          <a:xfrm>
            <a:off x="431932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6"/>
          </p:nvPr>
        </p:nvSpPr>
        <p:spPr>
          <a:xfrm>
            <a:off x="2591448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7"/>
          </p:nvPr>
        </p:nvSpPr>
        <p:spPr>
          <a:xfrm>
            <a:off x="4708805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8"/>
          </p:nvPr>
        </p:nvSpPr>
        <p:spPr>
          <a:xfrm>
            <a:off x="6910476" y="4167112"/>
            <a:ext cx="1789799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9"/>
          </p:nvPr>
        </p:nvSpPr>
        <p:spPr>
          <a:xfrm>
            <a:off x="432333" y="2128856"/>
            <a:ext cx="1789799" cy="145141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>
          <a:xfrm>
            <a:off x="2589469" y="2128856"/>
            <a:ext cx="1791310" cy="145141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31"/>
          </p:nvPr>
        </p:nvSpPr>
        <p:spPr>
          <a:xfrm>
            <a:off x="4708808" y="2128856"/>
            <a:ext cx="1806427" cy="145141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2"/>
          </p:nvPr>
        </p:nvSpPr>
        <p:spPr>
          <a:xfrm>
            <a:off x="6917336" y="2128855"/>
            <a:ext cx="1782241" cy="1392964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Content Placeholder 21"/>
          <p:cNvSpPr>
            <a:spLocks noGrp="1"/>
          </p:cNvSpPr>
          <p:nvPr>
            <p:ph sz="quarter" idx="33"/>
          </p:nvPr>
        </p:nvSpPr>
        <p:spPr>
          <a:xfrm>
            <a:off x="432333" y="4652987"/>
            <a:ext cx="1789799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34"/>
          </p:nvPr>
        </p:nvSpPr>
        <p:spPr>
          <a:xfrm>
            <a:off x="2589469" y="4652987"/>
            <a:ext cx="1798869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4" name="Content Placeholder 33"/>
          <p:cNvSpPr>
            <a:spLocks noGrp="1"/>
          </p:cNvSpPr>
          <p:nvPr>
            <p:ph sz="quarter" idx="35"/>
          </p:nvPr>
        </p:nvSpPr>
        <p:spPr>
          <a:xfrm>
            <a:off x="4708808" y="4652987"/>
            <a:ext cx="1806427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36"/>
          </p:nvPr>
        </p:nvSpPr>
        <p:spPr>
          <a:xfrm>
            <a:off x="6917332" y="4652987"/>
            <a:ext cx="1789799" cy="1420795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000"/>
            </a:lvl1pPr>
            <a:lvl2pPr>
              <a:spcBef>
                <a:spcPts val="240"/>
              </a:spcBef>
              <a:defRPr sz="1000"/>
            </a:lvl2pPr>
            <a:lvl3pPr>
              <a:spcBef>
                <a:spcPts val="240"/>
              </a:spcBef>
              <a:defRPr sz="1000"/>
            </a:lvl3pPr>
            <a:lvl4pPr>
              <a:spcBef>
                <a:spcPts val="240"/>
              </a:spcBef>
              <a:defRPr sz="1000"/>
            </a:lvl4pPr>
            <a:lvl5pPr>
              <a:spcBef>
                <a:spcPts val="240"/>
              </a:spcBef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23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25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Rectangle 25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547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31" y="1657754"/>
            <a:ext cx="2445305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3320887" y="1657754"/>
            <a:ext cx="5379388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2336" y="2190080"/>
            <a:ext cx="2445305" cy="388369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3323282" y="2190080"/>
            <a:ext cx="5376295" cy="3883696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684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3/1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1928" y="1666380"/>
            <a:ext cx="2458346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2"/>
          </p:nvPr>
        </p:nvSpPr>
        <p:spPr>
          <a:xfrm>
            <a:off x="435360" y="1666380"/>
            <a:ext cx="5391311" cy="3429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435357" y="2198706"/>
            <a:ext cx="5391270" cy="3875070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/>
          </p:nvPr>
        </p:nvSpPr>
        <p:spPr>
          <a:xfrm>
            <a:off x="6272271" y="2198706"/>
            <a:ext cx="2427306" cy="3875070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4" y="6648808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58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0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153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435356" y="1665288"/>
            <a:ext cx="3894023" cy="439261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lnSpc>
                <a:spcPct val="100000"/>
              </a:lnSpc>
              <a:spcBef>
                <a:spcPts val="300"/>
              </a:spcBef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1"/>
          </p:nvPr>
        </p:nvSpPr>
        <p:spPr>
          <a:xfrm>
            <a:off x="4773807" y="1665288"/>
            <a:ext cx="3925768" cy="4392612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200"/>
            </a:lvl1pPr>
            <a:lvl2pPr>
              <a:spcBef>
                <a:spcPts val="300"/>
              </a:spcBef>
              <a:defRPr sz="1200"/>
            </a:lvl2pPr>
            <a:lvl3pPr>
              <a:spcBef>
                <a:spcPts val="300"/>
              </a:spcBef>
              <a:defRPr sz="12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8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096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4" y="1666784"/>
            <a:ext cx="3890844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4169" y="1673258"/>
            <a:ext cx="3919363" cy="342900"/>
          </a:xfrm>
          <a:solidFill>
            <a:schemeClr val="accent6"/>
          </a:solidFill>
        </p:spPr>
        <p:txBody>
          <a:bodyPr vert="horz" lIns="144018" tIns="144018" rIns="144018" bIns="144018" rtlCol="0" anchor="ctr">
            <a:noAutofit/>
          </a:bodyPr>
          <a:lstStyle>
            <a:lvl1pPr>
              <a:defRPr lang="en-US" sz="1600" b="1" smtClean="0"/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435356" y="2202286"/>
            <a:ext cx="3894023" cy="3871491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1"/>
          </p:nvPr>
        </p:nvSpPr>
        <p:spPr>
          <a:xfrm>
            <a:off x="4773806" y="2202286"/>
            <a:ext cx="3925768" cy="3871491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69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435356" y="1665289"/>
            <a:ext cx="3894023" cy="191967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1"/>
          </p:nvPr>
        </p:nvSpPr>
        <p:spPr>
          <a:xfrm>
            <a:off x="4773807" y="1665289"/>
            <a:ext cx="3925768" cy="191967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2"/>
          </p:nvPr>
        </p:nvSpPr>
        <p:spPr>
          <a:xfrm>
            <a:off x="435356" y="4187826"/>
            <a:ext cx="3894023" cy="188595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3"/>
          </p:nvPr>
        </p:nvSpPr>
        <p:spPr>
          <a:xfrm>
            <a:off x="4773358" y="4187826"/>
            <a:ext cx="3933779" cy="1885950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07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928" y="2187147"/>
            <a:ext cx="3897046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2"/>
          </p:nvPr>
        </p:nvSpPr>
        <p:spPr>
          <a:xfrm>
            <a:off x="431928" y="4158591"/>
            <a:ext cx="3897046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4169" y="4158591"/>
            <a:ext cx="3919363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31928" y="1665288"/>
            <a:ext cx="3897046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774169" y="1665288"/>
            <a:ext cx="3919363" cy="342900"/>
          </a:xfrm>
          <a:solidFill>
            <a:schemeClr val="accent6"/>
          </a:solidFill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4773806" y="2194747"/>
            <a:ext cx="3925768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6"/>
          </p:nvPr>
        </p:nvSpPr>
        <p:spPr>
          <a:xfrm>
            <a:off x="432338" y="4696647"/>
            <a:ext cx="3897046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7"/>
          </p:nvPr>
        </p:nvSpPr>
        <p:spPr>
          <a:xfrm>
            <a:off x="4774169" y="4696647"/>
            <a:ext cx="3919363" cy="1377128"/>
          </a:xfrm>
        </p:spPr>
        <p:txBody>
          <a:bodyPr>
            <a:normAutofit/>
          </a:bodyPr>
          <a:lstStyle>
            <a:lvl1pPr>
              <a:spcBef>
                <a:spcPts val="720"/>
              </a:spcBef>
              <a:defRPr sz="1200"/>
            </a:lvl1pPr>
            <a:lvl2pPr>
              <a:spcBef>
                <a:spcPts val="240"/>
              </a:spcBef>
              <a:defRPr sz="1200"/>
            </a:lvl2pPr>
            <a:lvl3pPr>
              <a:spcBef>
                <a:spcPts val="240"/>
              </a:spcBef>
              <a:defRPr sz="1200"/>
            </a:lvl3pPr>
            <a:lvl4pPr>
              <a:spcBef>
                <a:spcPts val="240"/>
              </a:spcBef>
              <a:defRPr sz="1200"/>
            </a:lvl4pPr>
            <a:lvl5pPr>
              <a:spcBef>
                <a:spcPts val="240"/>
              </a:spcBef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7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9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773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787" y="304800"/>
            <a:ext cx="6552619" cy="10668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35362" y="1665289"/>
            <a:ext cx="2408066" cy="44084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3377042" y="1665289"/>
            <a:ext cx="2408066" cy="44084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2"/>
          </p:nvPr>
        </p:nvSpPr>
        <p:spPr>
          <a:xfrm>
            <a:off x="6302089" y="1665289"/>
            <a:ext cx="2405042" cy="4408487"/>
          </a:xfrm>
        </p:spPr>
        <p:txBody>
          <a:bodyPr>
            <a:normAutofit/>
          </a:bodyPr>
          <a:lstStyle>
            <a:lvl1pPr>
              <a:spcBef>
                <a:spcPts val="900"/>
              </a:spcBef>
              <a:defRPr sz="1400"/>
            </a:lvl1pPr>
            <a:lvl2pPr>
              <a:spcBef>
                <a:spcPts val="300"/>
              </a:spcBef>
              <a:defRPr sz="14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400"/>
            </a:lvl4pPr>
            <a:lvl5pPr>
              <a:spcBef>
                <a:spcPts val="300"/>
              </a:spcBef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31398"/>
            <a:ext cx="9144000" cy="226602"/>
          </a:xfrm>
          <a:prstGeom prst="rect">
            <a:avLst/>
          </a:prstGeom>
          <a:solidFill>
            <a:srgbClr val="0039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36005" rIns="108014" bIns="36005" rtlCol="0" anchor="ctr">
            <a:spAutoFit/>
          </a:bodyPr>
          <a:lstStyle/>
          <a:p>
            <a:pPr algn="r"/>
            <a:r>
              <a:rPr lang="en-GB" sz="1000" dirty="0">
                <a:solidFill>
                  <a:prstClr val="white"/>
                </a:solidFill>
              </a:rPr>
              <a:t>www.saudi-re.com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gray">
          <a:xfrm>
            <a:off x="5" y="6648812"/>
            <a:ext cx="57140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7A6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algn="ctr" eaLnBrk="0" hangingPunct="0"/>
            <a:fld id="{2306E996-13B1-4F09-8F6B-3AC86B81501F}" type="slidenum">
              <a:rPr lang="en-GB" sz="1100">
                <a:solidFill>
                  <a:prstClr val="white"/>
                </a:solidFill>
                <a:cs typeface="Arial" charset="0"/>
              </a:rPr>
              <a:pPr algn="ctr" eaLnBrk="0" hangingPunct="0"/>
              <a:t>‹#›</a:t>
            </a:fld>
            <a:endParaRPr lang="en-GB" sz="1100" dirty="0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760" y="414342"/>
            <a:ext cx="1605377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13"/>
          <p:cNvSpPr/>
          <p:nvPr userDrawn="1"/>
        </p:nvSpPr>
        <p:spPr>
          <a:xfrm>
            <a:off x="435362" y="304800"/>
            <a:ext cx="72559" cy="1066800"/>
          </a:xfrm>
          <a:prstGeom prst="rect">
            <a:avLst/>
          </a:prstGeom>
          <a:solidFill>
            <a:srgbClr val="91AE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431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0"/>
            </p:custDataLst>
            <p:extLst/>
          </p:nvPr>
        </p:nvGraphicFramePr>
        <p:xfrm>
          <a:off x="151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18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1930" y="304800"/>
            <a:ext cx="6541990" cy="1066800"/>
          </a:xfrm>
          <a:prstGeom prst="rect">
            <a:avLst/>
          </a:prstGeom>
        </p:spPr>
        <p:txBody>
          <a:bodyPr vert="horz" lIns="216019" tIns="72000" rIns="72000" bIns="7200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1928" y="1665288"/>
            <a:ext cx="8261491" cy="4408488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none"/>
        </p:style>
        <p:txBody>
          <a:bodyPr vert="horz" lIns="144018" tIns="144018" rIns="144018" bIns="144018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957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800" kern="1200">
          <a:solidFill>
            <a:schemeClr val="accent3"/>
          </a:solidFill>
          <a:latin typeface="Calibri" pitchFamily="34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buClr>
          <a:schemeClr val="accent3"/>
        </a:buClr>
        <a:buFont typeface="Wingdings" pitchFamily="2" charset="2"/>
        <a:buChar char="§"/>
        <a:defRPr sz="1600" kern="1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449263" indent="-196850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Calibri" pitchFamily="34" charset="0"/>
          <a:ea typeface="+mn-ea"/>
          <a:cs typeface="+mn-cs"/>
        </a:defRPr>
      </a:lvl2pPr>
      <a:lvl3pPr marL="647700" indent="-179388" algn="l" defTabSz="914400" rtl="0" eaLnBrk="1" latinLnBrk="0" hangingPunct="1">
        <a:spcBef>
          <a:spcPts val="400"/>
        </a:spcBef>
        <a:buFont typeface="Arial" pitchFamily="34" charset="0"/>
        <a:buChar char="-"/>
        <a:defRPr sz="1600" kern="1200">
          <a:solidFill>
            <a:schemeClr val="tx1"/>
          </a:solidFill>
          <a:latin typeface="Calibri" pitchFamily="34" charset="0"/>
          <a:ea typeface="+mn-ea"/>
          <a:cs typeface="+mn-cs"/>
        </a:defRPr>
      </a:lvl3pPr>
      <a:lvl4pPr marL="896938" indent="-180975" algn="l" defTabSz="914400" rtl="0" eaLnBrk="1" latinLnBrk="0" hangingPunct="1">
        <a:spcBef>
          <a:spcPts val="400"/>
        </a:spcBef>
        <a:buFont typeface="Arial" pitchFamily="34" charset="0"/>
        <a:buChar char="-"/>
        <a:defRPr sz="1600" kern="1200">
          <a:solidFill>
            <a:schemeClr val="tx1"/>
          </a:solidFill>
          <a:latin typeface="Calibri" pitchFamily="34" charset="0"/>
          <a:ea typeface="+mn-ea"/>
          <a:cs typeface="+mn-cs"/>
        </a:defRPr>
      </a:lvl4pPr>
      <a:lvl5pPr marL="1112838" indent="-215900" algn="l" defTabSz="914400" rtl="0" eaLnBrk="1" latinLnBrk="0" hangingPunct="1">
        <a:spcBef>
          <a:spcPts val="400"/>
        </a:spcBef>
        <a:buFont typeface="Arial" pitchFamily="34" charset="0"/>
        <a:buChar char="-"/>
        <a:defRPr sz="1600" kern="1200">
          <a:solidFill>
            <a:schemeClr val="tx1"/>
          </a:solidFill>
          <a:latin typeface="Calibri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273908" y="3110771"/>
            <a:ext cx="4784124" cy="713240"/>
          </a:xfrm>
          <a:solidFill>
            <a:srgbClr val="F8F8F8">
              <a:alpha val="41176"/>
            </a:srgbClr>
          </a:solidFill>
        </p:spPr>
        <p:txBody>
          <a:bodyPr>
            <a:noAutofit/>
          </a:bodyPr>
          <a:lstStyle/>
          <a:p>
            <a:pPr lvl="0" fontAlgn="base">
              <a:lnSpc>
                <a:spcPct val="100000"/>
              </a:lnSpc>
              <a:spcAft>
                <a:spcPct val="0"/>
              </a:spcAft>
            </a:pPr>
            <a:r>
              <a:rPr lang="en-GB" altLang="en-US" sz="4000" dirty="0">
                <a:solidFill>
                  <a:srgbClr val="676A5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Actuarial Profession in the Insurance and Reinsurance Industry </a:t>
            </a:r>
            <a:endParaRPr lang="en-US" altLang="en-US" sz="4000" dirty="0">
              <a:solidFill>
                <a:srgbClr val="676A55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273908" y="3997004"/>
            <a:ext cx="5474906" cy="775604"/>
          </a:xfrm>
        </p:spPr>
        <p:txBody>
          <a:bodyPr>
            <a:no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hmad Alquraishi, 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udi Re, CRO &amp; Chief Actuary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A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ing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d University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 February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17-11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umada Al </a:t>
            </a:r>
            <a:r>
              <a:rPr lang="en-US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wal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38H</a:t>
            </a:r>
          </a:p>
        </p:txBody>
      </p:sp>
    </p:spTree>
    <p:extLst>
      <p:ext uri="{BB962C8B-B14F-4D97-AF65-F5344CB8AC3E}">
        <p14:creationId xmlns:p14="http://schemas.microsoft.com/office/powerpoint/2010/main" val="279754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amples of the role of Actuaries</a:t>
            </a:r>
            <a:endParaRPr lang="en-GB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7" name="Rectangle 6"/>
          <p:cNvSpPr/>
          <p:nvPr/>
        </p:nvSpPr>
        <p:spPr>
          <a:xfrm>
            <a:off x="709683" y="1487607"/>
            <a:ext cx="756085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determine how much an insurance company should charge for motor insurance, medical expenses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urance or liability insurance.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ist in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veloping life insurance products.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assist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vernments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design, funding and regulatory aspects of pension plans (e.g.  General Organization For Social Insurance &amp; Public Pension Agency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ist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vernments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supervision of insurance industry (Saudi Arabian Monetary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uthority). 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6114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ining and Qualifications </a:t>
            </a:r>
            <a:endParaRPr lang="en-GB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7" name="Rectangle 6"/>
          <p:cNvSpPr/>
          <p:nvPr/>
        </p:nvSpPr>
        <p:spPr>
          <a:xfrm>
            <a:off x="709683" y="1487607"/>
            <a:ext cx="7560859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2628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need a strong background in mathematics, statistics, and general business. </a:t>
            </a:r>
            <a:endParaRPr lang="en-GB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2628" indent="-342900" algn="just">
              <a:buFont typeface="Wingdings" panose="05000000000000000000" pitchFamily="2" charset="2"/>
              <a:buChar char="§"/>
            </a:pP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o become a Qualified Actuary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series of exams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ould be passed.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l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uarial exams are written in English.</a:t>
            </a:r>
          </a:p>
          <a:p>
            <a:pPr marL="452628" indent="-342900" algn="just">
              <a:buFont typeface="Wingdings" panose="05000000000000000000" pitchFamily="2" charset="2"/>
              <a:buChar char="§"/>
            </a:pP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fessional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cieties sponsor programs leading to full professional status in their specialty. For example:</a:t>
            </a:r>
          </a:p>
          <a:p>
            <a:pPr marL="109728" algn="just"/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- In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S, the Society of Actuaries (SOA) and the Casualty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	Actuarial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ciety (CAS). </a:t>
            </a:r>
          </a:p>
          <a:p>
            <a:pPr marL="109728" algn="just"/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-Institute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Faculty of Actuaries (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.K.) </a:t>
            </a:r>
            <a:endParaRPr lang="en-GB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728" algn="just"/>
            <a:endParaRPr lang="en-GB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2628" indent="-342900" algn="just">
              <a:buFont typeface="Wingdings" panose="05000000000000000000" pitchFamily="2" charset="2"/>
              <a:buChar char="§"/>
            </a:pP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406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30" y="304800"/>
            <a:ext cx="6685562" cy="1066800"/>
          </a:xfrm>
        </p:spPr>
        <p:txBody>
          <a:bodyPr/>
          <a:lstStyle/>
          <a:p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aining Associateship &amp; Fellowship level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7" name="Rectangle 6"/>
          <p:cNvSpPr/>
          <p:nvPr/>
        </p:nvSpPr>
        <p:spPr>
          <a:xfrm>
            <a:off x="709683" y="1487607"/>
            <a:ext cx="756085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process for gaining certification in these societies are similar. 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reach the first level of certification, the Associateship, a candidate must complete several exams, attend one course on professionalism and may complete a coursework or work’s experience. This process generally takes from 4 to 8 years. 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next level, the Fellowship, requires passing more additional exams in advanced topics. Most actuaries reach the fellowship level 2 to 3 years after attaining Associate status.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728" indent="0" algn="just">
              <a:buNone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500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526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genda:</a:t>
            </a:r>
            <a:endParaRPr lang="en-GB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udi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file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udi Insurance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rket</a:t>
            </a:r>
          </a:p>
          <a:p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finition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An Actuary                                                      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as of Expertise  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o Employs Actuaries?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amples of the role of Actuaries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ining and Qualifications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taining Associateship &amp; Fellowship levels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MY" dirty="0"/>
          </a:p>
        </p:txBody>
      </p:sp>
    </p:spTree>
    <p:extLst>
      <p:ext uri="{BB962C8B-B14F-4D97-AF65-F5344CB8AC3E}">
        <p14:creationId xmlns:p14="http://schemas.microsoft.com/office/powerpoint/2010/main" val="853933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MY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6426" y="1981200"/>
            <a:ext cx="4754282" cy="281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431930" y="304800"/>
            <a:ext cx="6541990" cy="1066800"/>
          </a:xfrm>
          <a:prstGeom prst="rect">
            <a:avLst/>
          </a:prstGeom>
        </p:spPr>
        <p:txBody>
          <a:bodyPr vert="horz" lIns="216019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2800" kern="1200">
                <a:solidFill>
                  <a:schemeClr val="accent3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udi Re Profile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5328" y="1861865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30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1st </a:t>
            </a:r>
          </a:p>
        </p:txBody>
      </p:sp>
      <p:sp>
        <p:nvSpPr>
          <p:cNvPr id="7" name="Text Placeholder 4"/>
          <p:cNvSpPr txBox="1">
            <a:spLocks/>
          </p:cNvSpPr>
          <p:nvPr/>
        </p:nvSpPr>
        <p:spPr>
          <a:xfrm>
            <a:off x="1972561" y="1859916"/>
            <a:ext cx="2709504" cy="774700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st licensed reinsurance company in Saudi Arabia </a:t>
            </a:r>
          </a:p>
        </p:txBody>
      </p:sp>
      <p:sp>
        <p:nvSpPr>
          <p:cNvPr id="8" name="Rectangle 7"/>
          <p:cNvSpPr/>
          <p:nvPr/>
        </p:nvSpPr>
        <p:spPr>
          <a:xfrm>
            <a:off x="455330" y="2787147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30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2008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>
          <a:xfrm>
            <a:off x="1972561" y="2785428"/>
            <a:ext cx="2709504" cy="774700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rmAutofit fontScale="92500" lnSpcReduction="10000"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tablished 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</a:t>
            </a:r>
            <a:r>
              <a:rPr lang="en-US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08 as a publicly listed company </a:t>
            </a:r>
            <a:endParaRPr lang="en-US" sz="1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5332" y="4659511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22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BBB+</a:t>
            </a:r>
          </a:p>
          <a:p>
            <a:pPr algn="ctr"/>
            <a:r>
              <a:rPr lang="en-US" sz="22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gcAA+ </a:t>
            </a:r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1972561" y="4658678"/>
            <a:ext cx="2811102" cy="773113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ted BBB</a:t>
            </a: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 (Global) </a:t>
            </a:r>
            <a:r>
              <a:rPr lang="en-US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cAA+ (Regional) </a:t>
            </a:r>
            <a:r>
              <a:rPr lang="en-US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 Standard and Poor’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783205" y="4659397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30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+40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>
          <a:xfrm>
            <a:off x="6300436" y="4658793"/>
            <a:ext cx="2598027" cy="773112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ving clients in +40 countries in MENA, Asia and Africa</a:t>
            </a:r>
            <a:endParaRPr lang="en-US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5334" y="3723322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30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1 billion</a:t>
            </a:r>
          </a:p>
        </p:txBody>
      </p:sp>
      <p:sp>
        <p:nvSpPr>
          <p:cNvPr id="15" name="Text Placeholder 4"/>
          <p:cNvSpPr txBox="1">
            <a:spLocks/>
          </p:cNvSpPr>
          <p:nvPr/>
        </p:nvSpPr>
        <p:spPr>
          <a:xfrm>
            <a:off x="1972561" y="3722053"/>
            <a:ext cx="2912704" cy="773113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id up capital of SAR 1 billion(USD 267 M), the highest in MENA region </a:t>
            </a:r>
            <a:endParaRPr lang="en-US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83657" y="1860520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30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+250 </a:t>
            </a:r>
          </a:p>
        </p:txBody>
      </p:sp>
      <p:sp>
        <p:nvSpPr>
          <p:cNvPr id="17" name="Text Placeholder 4"/>
          <p:cNvSpPr txBox="1">
            <a:spLocks/>
          </p:cNvSpPr>
          <p:nvPr/>
        </p:nvSpPr>
        <p:spPr>
          <a:xfrm>
            <a:off x="6300890" y="1859916"/>
            <a:ext cx="2709504" cy="774700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rm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lients </a:t>
            </a:r>
            <a:endParaRPr lang="en-US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783659" y="2785802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0" kern="0" dirty="0" smtClean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70</a:t>
            </a:r>
            <a:endParaRPr lang="en-US" sz="3000" kern="0" dirty="0">
              <a:solidFill>
                <a:schemeClr val="bg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Text Placeholder 4"/>
          <p:cNvSpPr txBox="1">
            <a:spLocks/>
          </p:cNvSpPr>
          <p:nvPr/>
        </p:nvSpPr>
        <p:spPr>
          <a:xfrm>
            <a:off x="6300890" y="2785428"/>
            <a:ext cx="2709504" cy="774700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rm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mployees </a:t>
            </a:r>
            <a:endParaRPr lang="en-US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83663" y="3721977"/>
            <a:ext cx="1516779" cy="773853"/>
          </a:xfrm>
          <a:prstGeom prst="rect">
            <a:avLst/>
          </a:prstGeom>
          <a:noFill/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en-US" sz="3000" kern="0" dirty="0">
                <a:solidFill>
                  <a:schemeClr val="bg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2</a:t>
            </a:r>
          </a:p>
        </p:txBody>
      </p:sp>
      <p:sp>
        <p:nvSpPr>
          <p:cNvPr id="21" name="Text Placeholder 4"/>
          <p:cNvSpPr txBox="1">
            <a:spLocks/>
          </p:cNvSpPr>
          <p:nvPr/>
        </p:nvSpPr>
        <p:spPr>
          <a:xfrm>
            <a:off x="6300890" y="3722053"/>
            <a:ext cx="2709504" cy="773113"/>
          </a:xfrm>
          <a:prstGeom prst="rect">
            <a:avLst/>
          </a:prstGeom>
          <a:noFill/>
          <a:ln w="381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44018" tIns="144018" rIns="144018" bIns="144018" anchor="ctr">
            <a:noAutofit/>
          </a:bodyPr>
          <a:lstStyle>
            <a:lvl1pPr marL="180000" indent="-180000" algn="l" defTabSz="914400" rtl="0" eaLnBrk="1" latinLnBrk="0" hangingPunct="1">
              <a:spcBef>
                <a:spcPts val="72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24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240"/>
              </a:spcBef>
              <a:buFont typeface="Arial" pitchFamily="34" charset="0"/>
              <a:buChar char="-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ead Office, Riyadh</a:t>
            </a:r>
          </a:p>
          <a:p>
            <a:pPr marL="0" indent="0" fontAlgn="auto">
              <a:spcAft>
                <a:spcPts val="0"/>
              </a:spcAft>
              <a:buClr>
                <a:srgbClr val="6D6E72"/>
              </a:buClr>
              <a:buFont typeface="Wingdings" pitchFamily="2" charset="2"/>
              <a:buNone/>
              <a:defRPr/>
            </a:pPr>
            <a:r>
              <a:rPr lang="en-US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ranch, KL Malaysia </a:t>
            </a:r>
            <a:endParaRPr lang="en-US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3913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udi Insurance Market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clrChange>
              <a:clrFrom>
                <a:srgbClr val="F7F7F8"/>
              </a:clrFrom>
              <a:clrTo>
                <a:srgbClr val="F7F7F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8930" y="1402571"/>
            <a:ext cx="6959470" cy="2441240"/>
          </a:xfrm>
          <a:prstGeom prst="rect">
            <a:avLst/>
          </a:prstGeom>
        </p:spPr>
      </p:pic>
      <p:graphicFrame>
        <p:nvGraphicFramePr>
          <p:cNvPr id="6" name="Chart 5"/>
          <p:cNvGraphicFramePr/>
          <p:nvPr>
            <p:extLst/>
          </p:nvPr>
        </p:nvGraphicFramePr>
        <p:xfrm>
          <a:off x="558930" y="4436533"/>
          <a:ext cx="3626891" cy="2150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632351" y="4062438"/>
            <a:ext cx="2447436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1" dirty="0">
                <a:ln w="10160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Lines</a:t>
            </a:r>
            <a:r>
              <a:rPr lang="en-US" b="1" dirty="0" smtClean="0"/>
              <a:t> </a:t>
            </a:r>
            <a:r>
              <a:rPr lang="en-US" sz="2000" b="1" dirty="0">
                <a:ln w="10160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of Business GWP, 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2015 SAR Billion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80542" y="4610529"/>
            <a:ext cx="2645515" cy="189351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03512" y="4000883"/>
            <a:ext cx="3209688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 smtClean="0">
                <a:ln w="10160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Gross Written Premium (GWP)</a:t>
            </a:r>
          </a:p>
          <a:p>
            <a:pPr>
              <a:spcBef>
                <a:spcPts val="600"/>
              </a:spcBef>
            </a:pP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SAR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Bill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431931" y="1402571"/>
            <a:ext cx="8263336" cy="2441240"/>
          </a:xfrm>
          <a:prstGeom prst="rect">
            <a:avLst/>
          </a:prstGeom>
          <a:noFill/>
          <a:ln>
            <a:solidFill>
              <a:srgbClr val="91AE8F">
                <a:alpha val="60000"/>
              </a:srgb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3000" kern="0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1930" y="3874782"/>
            <a:ext cx="8263337" cy="2629257"/>
          </a:xfrm>
          <a:prstGeom prst="rect">
            <a:avLst/>
          </a:prstGeom>
          <a:noFill/>
          <a:ln>
            <a:solidFill>
              <a:srgbClr val="91AE8F">
                <a:alpha val="60000"/>
              </a:srgb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endParaRPr lang="en-US" sz="3000" kern="0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1337" y="6461156"/>
            <a:ext cx="14478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 smtClean="0"/>
              <a:t>Source: SAMA Market Reports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197207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29" y="304800"/>
            <a:ext cx="6705849" cy="1066800"/>
          </a:xfrm>
        </p:spPr>
        <p:txBody>
          <a:bodyPr/>
          <a:lstStyle/>
          <a:p>
            <a:pPr lv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finition of an Actuary</a:t>
            </a:r>
            <a:endParaRPr lang="en-GB" sz="32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2628" indent="-342900" algn="just"/>
            <a:r>
              <a:rPr lang="en-GB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 Actuary is a business professional who deals with the financial impact of risk and uncertainty. </a:t>
            </a:r>
            <a:endParaRPr lang="en-GB" sz="2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2628" indent="-342900" algn="just"/>
            <a:r>
              <a:rPr lang="en-GB" sz="2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</a:t>
            </a:r>
            <a:r>
              <a:rPr lang="en-GB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vide expert assessments of financial security systems, with a focus on their complexity, their mathematics, and their mechanisms. </a:t>
            </a:r>
            <a:endParaRPr lang="en-GB" sz="2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2628" indent="-342900" algn="just"/>
            <a:r>
              <a:rPr lang="en-US" sz="2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evaluates the likelihood of future events.</a:t>
            </a:r>
            <a:endParaRPr lang="en-GB" sz="2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728" indent="0" algn="just">
              <a:buNone/>
            </a:pPr>
            <a:endParaRPr lang="en-GB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728" indent="0" algn="just">
              <a:buNone/>
            </a:pPr>
            <a:endParaRPr lang="en-US" sz="2000" dirty="0"/>
          </a:p>
          <a:p>
            <a:pPr marL="109728" indent="0" algn="just">
              <a:buNone/>
            </a:pPr>
            <a:endParaRPr lang="en-US" sz="2000" dirty="0" smtClean="0"/>
          </a:p>
          <a:p>
            <a:pPr marL="109728" indent="0" algn="just">
              <a:buNone/>
            </a:pPr>
            <a:endParaRPr lang="en-US" sz="2000" dirty="0"/>
          </a:p>
          <a:p>
            <a:pPr marL="109728" indent="0" algn="just">
              <a:buNone/>
            </a:pPr>
            <a:endParaRPr lang="en-US" sz="2000" dirty="0" smtClean="0"/>
          </a:p>
          <a:p>
            <a:pPr marL="109728" indent="0" algn="just">
              <a:buNone/>
            </a:pPr>
            <a:endParaRPr lang="en-US" sz="2000" dirty="0"/>
          </a:p>
          <a:p>
            <a:pPr marL="109728" indent="0" algn="just">
              <a:buNone/>
            </a:pPr>
            <a:endParaRPr lang="en-US" sz="2000" dirty="0" smtClean="0"/>
          </a:p>
          <a:p>
            <a:pPr marL="109728" indent="0" algn="just">
              <a:buNone/>
            </a:pPr>
            <a:endParaRPr lang="en-US" sz="2000" dirty="0" smtClean="0"/>
          </a:p>
          <a:p>
            <a:pPr marL="109728" indent="0" algn="just">
              <a:buNone/>
            </a:pPr>
            <a:endParaRPr lang="en-US" sz="2000" dirty="0" smtClean="0"/>
          </a:p>
          <a:p>
            <a:pPr marL="109728" indent="0" algn="just">
              <a:buNone/>
            </a:pPr>
            <a:endParaRPr lang="en-US" sz="2000" dirty="0"/>
          </a:p>
          <a:p>
            <a:pPr marL="109728" indent="0">
              <a:buNone/>
            </a:pPr>
            <a:r>
              <a:rPr lang="en-GB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urce: Be An </a:t>
            </a:r>
            <a:r>
              <a:rPr lang="en-GB" sz="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y</a:t>
            </a:r>
            <a:r>
              <a:rPr lang="en-GB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org 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276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30" y="304800"/>
            <a:ext cx="6855974" cy="1066800"/>
          </a:xfrm>
        </p:spPr>
        <p:txBody>
          <a:bodyPr/>
          <a:lstStyle/>
          <a:p>
            <a:pPr lv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as of Expertise </a:t>
            </a:r>
            <a:endParaRPr lang="en-GB" sz="32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5" name="Rectangle 4"/>
          <p:cNvSpPr/>
          <p:nvPr/>
        </p:nvSpPr>
        <p:spPr>
          <a:xfrm>
            <a:off x="431930" y="1255595"/>
            <a:ext cx="8307154" cy="5555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2628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uaries traditionally are specialized in life, health, property, and casualty insurance. But their skills and talents are transferable to any industry that requires risk modeling and management, including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109728" algn="just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nancial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rvices, such as banking and investment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nagement.</a:t>
            </a:r>
          </a:p>
          <a:p>
            <a:pPr marL="109728" algn="just"/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Government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titutions, Public Health and developing 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gulations 	and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gislation.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	- Risk </a:t>
            </a: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GB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agement </a:t>
            </a:r>
          </a:p>
          <a:p>
            <a:pPr algn="just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- Accounting firms</a:t>
            </a:r>
            <a:endParaRPr lang="en-GB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sz="2000" dirty="0"/>
          </a:p>
          <a:p>
            <a:pPr algn="just"/>
            <a:endParaRPr lang="en-US" sz="2000" dirty="0" smtClean="0"/>
          </a:p>
          <a:p>
            <a:pPr algn="just"/>
            <a:endParaRPr lang="en-US" sz="2000" dirty="0"/>
          </a:p>
          <a:p>
            <a:pPr algn="just"/>
            <a:endParaRPr lang="en-US" sz="2000" dirty="0" smtClean="0"/>
          </a:p>
          <a:p>
            <a:pPr algn="just"/>
            <a:endParaRPr lang="en-US" sz="2000" dirty="0"/>
          </a:p>
          <a:p>
            <a:pPr algn="just"/>
            <a:endParaRPr lang="en-US" sz="2000" dirty="0" smtClean="0"/>
          </a:p>
          <a:p>
            <a:pPr algn="just"/>
            <a:endParaRPr lang="en-US" sz="2000" dirty="0"/>
          </a:p>
          <a:p>
            <a:pPr algn="just"/>
            <a:endParaRPr lang="en-GB" sz="2000" dirty="0"/>
          </a:p>
          <a:p>
            <a:pPr marL="109728" indent="0">
              <a:buNone/>
            </a:pPr>
            <a:endParaRPr lang="en-GB" sz="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728" indent="0">
              <a:buNone/>
            </a:pPr>
            <a:r>
              <a:rPr lang="en-GB" sz="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urce: Be An Actuary.org </a:t>
            </a:r>
            <a:endParaRPr lang="en-US" sz="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 hangingPunct="0">
              <a:lnSpc>
                <a:spcPct val="115000"/>
              </a:lnSpc>
              <a:spcAft>
                <a:spcPts val="0"/>
              </a:spcAft>
              <a:tabLst>
                <a:tab pos="457200" algn="l"/>
              </a:tabLst>
            </a:pPr>
            <a:endParaRPr lang="en-US" sz="2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929" y="304800"/>
            <a:ext cx="6719497" cy="1066800"/>
          </a:xfrm>
        </p:spPr>
        <p:txBody>
          <a:bodyPr/>
          <a:lstStyle/>
          <a:p>
            <a:pPr lvl="0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o Employs Actuaries?</a:t>
            </a:r>
            <a:endParaRPr lang="en-GB" sz="3200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5" name="Rectangle 4"/>
          <p:cNvSpPr/>
          <p:nvPr/>
        </p:nvSpPr>
        <p:spPr>
          <a:xfrm>
            <a:off x="639138" y="1319066"/>
            <a:ext cx="809994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728" indent="0" algn="just">
              <a:buNone/>
            </a:pPr>
            <a:r>
              <a:rPr lang="en-GB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following slides show the breakdown of the membership, in the US, of the Casualty Actuarial Society and the Society of Actuaries.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38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o Employs Actuaries?</a:t>
            </a:r>
            <a:endParaRPr lang="en-GB" sz="32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5" name="Rectangle 4"/>
          <p:cNvSpPr/>
          <p:nvPr/>
        </p:nvSpPr>
        <p:spPr>
          <a:xfrm>
            <a:off x="639138" y="1617345"/>
            <a:ext cx="809994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728" lvl="0" indent="0"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. Casualty Actuarial Society</a:t>
            </a:r>
          </a:p>
          <a:p>
            <a:pPr marL="109728" lvl="0" indent="0">
              <a:buNone/>
            </a:pPr>
            <a:endParaRPr lang="en-US" sz="2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 smtClean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 smtClean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r>
              <a:rPr lang="en-GB" sz="2000" dirty="0"/>
              <a:t> </a:t>
            </a:r>
            <a:r>
              <a:rPr lang="en-GB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urce: Casualty Actuarial Society, </a:t>
            </a:r>
            <a:r>
              <a:rPr lang="en-GB" sz="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cember 2012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737" y="2092410"/>
            <a:ext cx="8161951" cy="3630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775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</a:pPr>
            <a:r>
              <a:rPr lang="en-GB" dirty="0">
                <a:latin typeface="Times New Roman" panose="02020603050405020304" pitchFamily="18" charset="0"/>
                <a:cs typeface="Times New Roman" panose="02020603050405020304" pitchFamily="18" charset="0"/>
              </a:rPr>
              <a:t>Who Employs Actuaries?</a:t>
            </a:r>
            <a:endParaRPr lang="en-GB" sz="3200" b="1" kern="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6"/>
          <p:cNvSpPr txBox="1">
            <a:spLocks/>
          </p:cNvSpPr>
          <p:nvPr/>
        </p:nvSpPr>
        <p:spPr>
          <a:xfrm>
            <a:off x="431930" y="1371600"/>
            <a:ext cx="8514362" cy="5243384"/>
          </a:xfrm>
          <a:prstGeom prst="rect">
            <a:avLst/>
          </a:prstGeom>
        </p:spPr>
        <p:txBody>
          <a:bodyPr>
            <a:normAutofit/>
          </a:bodyPr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49263" indent="-196850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647700" indent="-179388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896938" indent="-180975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112838" indent="-215900" algn="l" defTabSz="914400" rtl="0" eaLnBrk="1" latinLnBrk="0" hangingPunct="1">
              <a:spcBef>
                <a:spcPts val="400"/>
              </a:spcBef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en-MY" dirty="0"/>
          </a:p>
        </p:txBody>
      </p:sp>
      <p:sp>
        <p:nvSpPr>
          <p:cNvPr id="5" name="Rectangle 4"/>
          <p:cNvSpPr/>
          <p:nvPr/>
        </p:nvSpPr>
        <p:spPr>
          <a:xfrm>
            <a:off x="639138" y="1617345"/>
            <a:ext cx="809994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728" lvl="0" indent="0">
              <a:buNone/>
            </a:pPr>
            <a:r>
              <a:rPr lang="en-GB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B. Society of </a:t>
            </a:r>
            <a:r>
              <a:rPr lang="en-GB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ctuaries</a:t>
            </a:r>
          </a:p>
          <a:p>
            <a:pPr marL="109728" lvl="0" indent="0">
              <a:buNone/>
            </a:pPr>
            <a:endParaRPr lang="en-US" sz="2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09728" lvl="0" indent="0">
              <a:buNone/>
            </a:pPr>
            <a:endParaRPr lang="en-US" sz="20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 smtClean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 smtClean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endParaRPr lang="en-US" sz="2000" dirty="0"/>
          </a:p>
          <a:p>
            <a:pPr marL="109728" indent="0">
              <a:buNone/>
            </a:pPr>
            <a:r>
              <a:rPr lang="en-GB" sz="2000" dirty="0"/>
              <a:t> </a:t>
            </a:r>
            <a:r>
              <a:rPr lang="en-GB" sz="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urce: Society of Actuaries, April 2013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1773" y="2058312"/>
            <a:ext cx="7547502" cy="366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693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udiRe_OW template">
  <a:themeElements>
    <a:clrScheme name="SaudiRe-OW2">
      <a:dk1>
        <a:sysClr val="windowText" lastClr="000000"/>
      </a:dk1>
      <a:lt1>
        <a:sysClr val="window" lastClr="FFFFFF"/>
      </a:lt1>
      <a:dk2>
        <a:srgbClr val="003900"/>
      </a:dk2>
      <a:lt2>
        <a:srgbClr val="EEECE1"/>
      </a:lt2>
      <a:accent1>
        <a:srgbClr val="014912"/>
      </a:accent1>
      <a:accent2>
        <a:srgbClr val="91AE8F"/>
      </a:accent2>
      <a:accent3>
        <a:srgbClr val="6D6E72"/>
      </a:accent3>
      <a:accent4>
        <a:srgbClr val="BFBFBF"/>
      </a:accent4>
      <a:accent5>
        <a:srgbClr val="72A376"/>
      </a:accent5>
      <a:accent6>
        <a:srgbClr val="D5E0D6"/>
      </a:accent6>
      <a:hlink>
        <a:srgbClr val="4D4D4D"/>
      </a:hlink>
      <a:folHlink>
        <a:srgbClr val="B2B2B2"/>
      </a:folHlink>
    </a:clrScheme>
    <a:fontScheme name="Saudi-Re_OW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2700">
          <a:noFill/>
        </a:ln>
      </a:spPr>
      <a:bodyPr lIns="72000" tIns="72000" rIns="72000" bIns="72000" rtlCol="0" anchor="ctr">
        <a:spAutoFit/>
      </a:bodyPr>
      <a:lstStyle>
        <a:defPPr algn="ctr">
          <a:defRPr sz="14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517</TotalTime>
  <Words>550</Words>
  <Application>Microsoft Office PowerPoint</Application>
  <PresentationFormat>On-screen Show (4:3)</PresentationFormat>
  <Paragraphs>125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Tahoma</vt:lpstr>
      <vt:lpstr>Times New Roman</vt:lpstr>
      <vt:lpstr>Wingdings</vt:lpstr>
      <vt:lpstr>SaudiRe_OW template</vt:lpstr>
      <vt:lpstr>think-cell Slide</vt:lpstr>
      <vt:lpstr>The Actuarial Profession in the Insurance and Reinsurance Industry </vt:lpstr>
      <vt:lpstr>Agenda:</vt:lpstr>
      <vt:lpstr>PowerPoint Presentation</vt:lpstr>
      <vt:lpstr>Saudi Insurance Market</vt:lpstr>
      <vt:lpstr>Definition of an Actuary</vt:lpstr>
      <vt:lpstr>Areas of Expertise </vt:lpstr>
      <vt:lpstr>Who Employs Actuaries?</vt:lpstr>
      <vt:lpstr>Who Employs Actuaries?</vt:lpstr>
      <vt:lpstr>Who Employs Actuaries?</vt:lpstr>
      <vt:lpstr>Examples of the role of Actuaries</vt:lpstr>
      <vt:lpstr>Training and Qualifications </vt:lpstr>
      <vt:lpstr>Attaining Associateship &amp; Fellowship levels</vt:lpstr>
      <vt:lpstr>PowerPoint Presentation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udi Re Representative Office</dc:title>
  <dc:creator>Ahmed Al-Jabr</dc:creator>
  <cp:lastModifiedBy>ahmad suliman</cp:lastModifiedBy>
  <cp:revision>586</cp:revision>
  <cp:lastPrinted>2017-01-30T12:56:04Z</cp:lastPrinted>
  <dcterms:created xsi:type="dcterms:W3CDTF">2015-05-18T13:22:58Z</dcterms:created>
  <dcterms:modified xsi:type="dcterms:W3CDTF">2017-02-07T19:12:29Z</dcterms:modified>
</cp:coreProperties>
</file>